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2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B1A677-1667-40B1-820C-6ECC42254150}" v="54" dt="2023-03-03T23:37:30.0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3" d="100"/>
          <a:sy n="103" d="100"/>
        </p:scale>
        <p:origin x="150" y="648"/>
      </p:cViewPr>
      <p:guideLst>
        <p:guide orient="horz" pos="648"/>
        <p:guide pos="3576"/>
        <p:guide pos="7584"/>
        <p:guide orient="horz" pos="4032"/>
        <p:guide pos="96"/>
        <p:guide pos="2856"/>
        <p:guide pos="576"/>
        <p:guide orient="horz" pos="3840"/>
        <p:guide orient="horz" pos="816"/>
        <p:guide orient="horz" pos="1032"/>
        <p:guide orient="horz" pos="3600"/>
        <p:guide orient="horz" pos="22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B2B1A677-1667-40B1-820C-6ECC42254150}"/>
    <pc:docChg chg="addSld delSld modSld">
      <pc:chgData name="Roberto Gallardo" userId="49a044883f185952" providerId="LiveId" clId="{B2B1A677-1667-40B1-820C-6ECC42254150}" dt="2023-03-03T23:37:38.343" v="235" actId="1036"/>
      <pc:docMkLst>
        <pc:docMk/>
      </pc:docMkLst>
      <pc:sldChg chg="del">
        <pc:chgData name="Roberto Gallardo" userId="49a044883f185952" providerId="LiveId" clId="{B2B1A677-1667-40B1-820C-6ECC42254150}" dt="2023-02-25T14:44:43.067" v="4" actId="47"/>
        <pc:sldMkLst>
          <pc:docMk/>
          <pc:sldMk cId="1175010214" sldId="261"/>
        </pc:sldMkLst>
      </pc:sldChg>
      <pc:sldChg chg="addSp modSp mod">
        <pc:chgData name="Roberto Gallardo" userId="49a044883f185952" providerId="LiveId" clId="{B2B1A677-1667-40B1-820C-6ECC42254150}" dt="2023-03-03T23:32:33.783" v="14" actId="1076"/>
        <pc:sldMkLst>
          <pc:docMk/>
          <pc:sldMk cId="1418533539" sldId="271"/>
        </pc:sldMkLst>
        <pc:picChg chg="add mod">
          <ac:chgData name="Roberto Gallardo" userId="49a044883f185952" providerId="LiveId" clId="{B2B1A677-1667-40B1-820C-6ECC42254150}" dt="2023-03-03T23:32:33.783" v="14" actId="1076"/>
          <ac:picMkLst>
            <pc:docMk/>
            <pc:sldMk cId="1418533539" sldId="271"/>
            <ac:picMk id="6" creationId="{6C561D75-EC97-768F-56D4-FD7D37AFA77A}"/>
          </ac:picMkLst>
        </pc:picChg>
      </pc:sldChg>
      <pc:sldChg chg="addSp modSp mod">
        <pc:chgData name="Roberto Gallardo" userId="49a044883f185952" providerId="LiveId" clId="{B2B1A677-1667-40B1-820C-6ECC42254150}" dt="2023-03-03T23:34:18.153" v="81" actId="1036"/>
        <pc:sldMkLst>
          <pc:docMk/>
          <pc:sldMk cId="2124848710" sldId="281"/>
        </pc:sldMkLst>
        <pc:picChg chg="add mod">
          <ac:chgData name="Roberto Gallardo" userId="49a044883f185952" providerId="LiveId" clId="{B2B1A677-1667-40B1-820C-6ECC42254150}" dt="2023-03-03T23:34:18.153" v="81" actId="1036"/>
          <ac:picMkLst>
            <pc:docMk/>
            <pc:sldMk cId="2124848710" sldId="281"/>
            <ac:picMk id="6" creationId="{0AD153EB-480B-EAD8-0DBE-A0C4608FC319}"/>
          </ac:picMkLst>
        </pc:picChg>
      </pc:sldChg>
      <pc:sldChg chg="addSp modSp mod">
        <pc:chgData name="Roberto Gallardo" userId="49a044883f185952" providerId="LiveId" clId="{B2B1A677-1667-40B1-820C-6ECC42254150}" dt="2023-03-03T23:34:33.863" v="91" actId="1036"/>
        <pc:sldMkLst>
          <pc:docMk/>
          <pc:sldMk cId="2028175529" sldId="282"/>
        </pc:sldMkLst>
        <pc:picChg chg="add mod">
          <ac:chgData name="Roberto Gallardo" userId="49a044883f185952" providerId="LiveId" clId="{B2B1A677-1667-40B1-820C-6ECC42254150}" dt="2023-03-03T23:34:33.863" v="91" actId="1036"/>
          <ac:picMkLst>
            <pc:docMk/>
            <pc:sldMk cId="2028175529" sldId="282"/>
            <ac:picMk id="7" creationId="{86E3AE12-01F6-BC28-AB43-6DDC2413A14D}"/>
          </ac:picMkLst>
        </pc:picChg>
      </pc:sldChg>
      <pc:sldChg chg="addSp modSp mod">
        <pc:chgData name="Roberto Gallardo" userId="49a044883f185952" providerId="LiveId" clId="{B2B1A677-1667-40B1-820C-6ECC42254150}" dt="2023-03-03T23:34:47.923" v="102" actId="1036"/>
        <pc:sldMkLst>
          <pc:docMk/>
          <pc:sldMk cId="1326517747" sldId="283"/>
        </pc:sldMkLst>
        <pc:picChg chg="add mod">
          <ac:chgData name="Roberto Gallardo" userId="49a044883f185952" providerId="LiveId" clId="{B2B1A677-1667-40B1-820C-6ECC42254150}" dt="2023-03-03T23:34:47.923" v="102" actId="1036"/>
          <ac:picMkLst>
            <pc:docMk/>
            <pc:sldMk cId="1326517747" sldId="283"/>
            <ac:picMk id="7" creationId="{8DAEF975-045A-CE4B-8AB7-5A08D46A0745}"/>
          </ac:picMkLst>
        </pc:picChg>
      </pc:sldChg>
      <pc:sldChg chg="addSp modSp mod">
        <pc:chgData name="Roberto Gallardo" userId="49a044883f185952" providerId="LiveId" clId="{B2B1A677-1667-40B1-820C-6ECC42254150}" dt="2023-03-03T23:35:06.731" v="116" actId="1036"/>
        <pc:sldMkLst>
          <pc:docMk/>
          <pc:sldMk cId="783739251" sldId="284"/>
        </pc:sldMkLst>
        <pc:picChg chg="add mod">
          <ac:chgData name="Roberto Gallardo" userId="49a044883f185952" providerId="LiveId" clId="{B2B1A677-1667-40B1-820C-6ECC42254150}" dt="2023-03-03T23:35:06.731" v="116" actId="1036"/>
          <ac:picMkLst>
            <pc:docMk/>
            <pc:sldMk cId="783739251" sldId="284"/>
            <ac:picMk id="7" creationId="{AFACCCD0-4FC0-FDB2-C0FE-EE3590794458}"/>
          </ac:picMkLst>
        </pc:picChg>
      </pc:sldChg>
      <pc:sldChg chg="addSp modSp mod">
        <pc:chgData name="Roberto Gallardo" userId="49a044883f185952" providerId="LiveId" clId="{B2B1A677-1667-40B1-820C-6ECC42254150}" dt="2023-03-03T23:35:21.387" v="128" actId="1036"/>
        <pc:sldMkLst>
          <pc:docMk/>
          <pc:sldMk cId="1676122233" sldId="285"/>
        </pc:sldMkLst>
        <pc:picChg chg="add mod">
          <ac:chgData name="Roberto Gallardo" userId="49a044883f185952" providerId="LiveId" clId="{B2B1A677-1667-40B1-820C-6ECC42254150}" dt="2023-03-03T23:35:21.387" v="128" actId="1036"/>
          <ac:picMkLst>
            <pc:docMk/>
            <pc:sldMk cId="1676122233" sldId="285"/>
            <ac:picMk id="7" creationId="{F7E50A27-0E84-B582-9CCF-A381F94C7C77}"/>
          </ac:picMkLst>
        </pc:picChg>
      </pc:sldChg>
      <pc:sldChg chg="addSp modSp mod">
        <pc:chgData name="Roberto Gallardo" userId="49a044883f185952" providerId="LiveId" clId="{B2B1A677-1667-40B1-820C-6ECC42254150}" dt="2023-03-03T23:35:36.759" v="139" actId="1036"/>
        <pc:sldMkLst>
          <pc:docMk/>
          <pc:sldMk cId="3100398757" sldId="286"/>
        </pc:sldMkLst>
        <pc:picChg chg="add mod">
          <ac:chgData name="Roberto Gallardo" userId="49a044883f185952" providerId="LiveId" clId="{B2B1A677-1667-40B1-820C-6ECC42254150}" dt="2023-03-03T23:35:36.759" v="139" actId="1036"/>
          <ac:picMkLst>
            <pc:docMk/>
            <pc:sldMk cId="3100398757" sldId="286"/>
            <ac:picMk id="7" creationId="{23484514-4F42-9DCC-ADF1-209D7509FE14}"/>
          </ac:picMkLst>
        </pc:picChg>
      </pc:sldChg>
      <pc:sldChg chg="addSp modSp mod">
        <pc:chgData name="Roberto Gallardo" userId="49a044883f185952" providerId="LiveId" clId="{B2B1A677-1667-40B1-820C-6ECC42254150}" dt="2023-03-03T23:35:51.271" v="151" actId="1036"/>
        <pc:sldMkLst>
          <pc:docMk/>
          <pc:sldMk cId="1546475425" sldId="287"/>
        </pc:sldMkLst>
        <pc:picChg chg="add mod">
          <ac:chgData name="Roberto Gallardo" userId="49a044883f185952" providerId="LiveId" clId="{B2B1A677-1667-40B1-820C-6ECC42254150}" dt="2023-03-03T23:35:51.271" v="151" actId="1036"/>
          <ac:picMkLst>
            <pc:docMk/>
            <pc:sldMk cId="1546475425" sldId="287"/>
            <ac:picMk id="7" creationId="{D8636534-7E96-E01A-A0EF-3883767D9024}"/>
          </ac:picMkLst>
        </pc:picChg>
      </pc:sldChg>
      <pc:sldChg chg="addSp modSp mod">
        <pc:chgData name="Roberto Gallardo" userId="49a044883f185952" providerId="LiveId" clId="{B2B1A677-1667-40B1-820C-6ECC42254150}" dt="2023-03-03T23:36:25.770" v="179" actId="1035"/>
        <pc:sldMkLst>
          <pc:docMk/>
          <pc:sldMk cId="1380517306" sldId="288"/>
        </pc:sldMkLst>
        <pc:picChg chg="add mod">
          <ac:chgData name="Roberto Gallardo" userId="49a044883f185952" providerId="LiveId" clId="{B2B1A677-1667-40B1-820C-6ECC42254150}" dt="2023-03-03T23:36:25.770" v="179" actId="1035"/>
          <ac:picMkLst>
            <pc:docMk/>
            <pc:sldMk cId="1380517306" sldId="288"/>
            <ac:picMk id="7" creationId="{F300DAA3-0326-3D1A-1988-47BA1E15AD65}"/>
          </ac:picMkLst>
        </pc:picChg>
      </pc:sldChg>
      <pc:sldChg chg="addSp modSp mod">
        <pc:chgData name="Roberto Gallardo" userId="49a044883f185952" providerId="LiveId" clId="{B2B1A677-1667-40B1-820C-6ECC42254150}" dt="2023-03-03T23:36:42.295" v="191" actId="1036"/>
        <pc:sldMkLst>
          <pc:docMk/>
          <pc:sldMk cId="1388671151" sldId="289"/>
        </pc:sldMkLst>
        <pc:picChg chg="add mod">
          <ac:chgData name="Roberto Gallardo" userId="49a044883f185952" providerId="LiveId" clId="{B2B1A677-1667-40B1-820C-6ECC42254150}" dt="2023-03-03T23:36:42.295" v="191" actId="1036"/>
          <ac:picMkLst>
            <pc:docMk/>
            <pc:sldMk cId="1388671151" sldId="289"/>
            <ac:picMk id="7" creationId="{45F1324F-D1B5-B62D-56C7-E568EBE51981}"/>
          </ac:picMkLst>
        </pc:picChg>
      </pc:sldChg>
      <pc:sldChg chg="addSp modSp mod">
        <pc:chgData name="Roberto Gallardo" userId="49a044883f185952" providerId="LiveId" clId="{B2B1A677-1667-40B1-820C-6ECC42254150}" dt="2023-03-03T23:37:23.601" v="223" actId="1036"/>
        <pc:sldMkLst>
          <pc:docMk/>
          <pc:sldMk cId="2355376039" sldId="290"/>
        </pc:sldMkLst>
        <pc:picChg chg="add mod">
          <ac:chgData name="Roberto Gallardo" userId="49a044883f185952" providerId="LiveId" clId="{B2B1A677-1667-40B1-820C-6ECC42254150}" dt="2023-03-03T23:37:23.601" v="223" actId="1036"/>
          <ac:picMkLst>
            <pc:docMk/>
            <pc:sldMk cId="2355376039" sldId="290"/>
            <ac:picMk id="8" creationId="{258D7C57-2185-15A2-E8DF-D06760EE73EC}"/>
          </ac:picMkLst>
        </pc:picChg>
      </pc:sldChg>
      <pc:sldChg chg="addSp modSp mod">
        <pc:chgData name="Roberto Gallardo" userId="49a044883f185952" providerId="LiveId" clId="{B2B1A677-1667-40B1-820C-6ECC42254150}" dt="2023-03-03T23:37:38.343" v="235" actId="1036"/>
        <pc:sldMkLst>
          <pc:docMk/>
          <pc:sldMk cId="3757257295" sldId="291"/>
        </pc:sldMkLst>
        <pc:picChg chg="add mod">
          <ac:chgData name="Roberto Gallardo" userId="49a044883f185952" providerId="LiveId" clId="{B2B1A677-1667-40B1-820C-6ECC42254150}" dt="2023-03-03T23:37:38.343" v="235" actId="1036"/>
          <ac:picMkLst>
            <pc:docMk/>
            <pc:sldMk cId="3757257295" sldId="291"/>
            <ac:picMk id="8" creationId="{4ABE03B2-9212-D594-F6B2-4A65948038E4}"/>
          </ac:picMkLst>
        </pc:picChg>
      </pc:sldChg>
      <pc:sldChg chg="addSp modSp mod">
        <pc:chgData name="Roberto Gallardo" userId="49a044883f185952" providerId="LiveId" clId="{B2B1A677-1667-40B1-820C-6ECC42254150}" dt="2023-03-03T23:36:06.212" v="164" actId="1036"/>
        <pc:sldMkLst>
          <pc:docMk/>
          <pc:sldMk cId="1259856727" sldId="292"/>
        </pc:sldMkLst>
        <pc:picChg chg="add mod">
          <ac:chgData name="Roberto Gallardo" userId="49a044883f185952" providerId="LiveId" clId="{B2B1A677-1667-40B1-820C-6ECC42254150}" dt="2023-03-03T23:36:06.212" v="164" actId="1036"/>
          <ac:picMkLst>
            <pc:docMk/>
            <pc:sldMk cId="1259856727" sldId="292"/>
            <ac:picMk id="7" creationId="{47175CCA-0DE7-4CBB-3802-121254047697}"/>
          </ac:picMkLst>
        </pc:picChg>
      </pc:sldChg>
      <pc:sldChg chg="addSp modSp mod">
        <pc:chgData name="Roberto Gallardo" userId="49a044883f185952" providerId="LiveId" clId="{B2B1A677-1667-40B1-820C-6ECC42254150}" dt="2023-03-03T23:33:56.400" v="66" actId="1036"/>
        <pc:sldMkLst>
          <pc:docMk/>
          <pc:sldMk cId="3324519687" sldId="293"/>
        </pc:sldMkLst>
        <pc:picChg chg="add mod">
          <ac:chgData name="Roberto Gallardo" userId="49a044883f185952" providerId="LiveId" clId="{B2B1A677-1667-40B1-820C-6ECC42254150}" dt="2023-03-03T23:33:56.400" v="66" actId="1036"/>
          <ac:picMkLst>
            <pc:docMk/>
            <pc:sldMk cId="3324519687" sldId="293"/>
            <ac:picMk id="7" creationId="{59126923-7713-4528-4D0E-299A0926D5B5}"/>
          </ac:picMkLst>
        </pc:picChg>
      </pc:sldChg>
      <pc:sldChg chg="addSp modSp mod">
        <pc:chgData name="Roberto Gallardo" userId="49a044883f185952" providerId="LiveId" clId="{B2B1A677-1667-40B1-820C-6ECC42254150}" dt="2023-03-03T23:33:25.092" v="41" actId="1036"/>
        <pc:sldMkLst>
          <pc:docMk/>
          <pc:sldMk cId="3256182630" sldId="295"/>
        </pc:sldMkLst>
        <pc:picChg chg="add mod">
          <ac:chgData name="Roberto Gallardo" userId="49a044883f185952" providerId="LiveId" clId="{B2B1A677-1667-40B1-820C-6ECC42254150}" dt="2023-03-03T23:33:25.092" v="41" actId="1036"/>
          <ac:picMkLst>
            <pc:docMk/>
            <pc:sldMk cId="3256182630" sldId="295"/>
            <ac:picMk id="7" creationId="{9D8622ED-DD82-60F2-C063-8A678F515BEC}"/>
          </ac:picMkLst>
        </pc:picChg>
      </pc:sldChg>
      <pc:sldChg chg="addSp modSp mod">
        <pc:chgData name="Roberto Gallardo" userId="49a044883f185952" providerId="LiveId" clId="{B2B1A677-1667-40B1-820C-6ECC42254150}" dt="2023-03-03T23:33:40.620" v="54" actId="1036"/>
        <pc:sldMkLst>
          <pc:docMk/>
          <pc:sldMk cId="4057156843" sldId="296"/>
        </pc:sldMkLst>
        <pc:picChg chg="add mod">
          <ac:chgData name="Roberto Gallardo" userId="49a044883f185952" providerId="LiveId" clId="{B2B1A677-1667-40B1-820C-6ECC42254150}" dt="2023-03-03T23:33:40.620" v="54" actId="1036"/>
          <ac:picMkLst>
            <pc:docMk/>
            <pc:sldMk cId="4057156843" sldId="296"/>
            <ac:picMk id="7" creationId="{B2D162A0-4A93-E669-414E-525C70C43D49}"/>
          </ac:picMkLst>
        </pc:picChg>
      </pc:sldChg>
      <pc:sldChg chg="addSp modSp mod">
        <pc:chgData name="Roberto Gallardo" userId="49a044883f185952" providerId="LiveId" clId="{B2B1A677-1667-40B1-820C-6ECC42254150}" dt="2023-03-03T23:33:10.804" v="30" actId="1076"/>
        <pc:sldMkLst>
          <pc:docMk/>
          <pc:sldMk cId="2080110827" sldId="297"/>
        </pc:sldMkLst>
        <pc:picChg chg="add mod">
          <ac:chgData name="Roberto Gallardo" userId="49a044883f185952" providerId="LiveId" clId="{B2B1A677-1667-40B1-820C-6ECC42254150}" dt="2023-03-03T23:33:10.804" v="30" actId="1076"/>
          <ac:picMkLst>
            <pc:docMk/>
            <pc:sldMk cId="2080110827" sldId="297"/>
            <ac:picMk id="6" creationId="{6607EA8B-F174-BAF9-18D8-79DEBFE7E858}"/>
          </ac:picMkLst>
        </pc:picChg>
      </pc:sldChg>
      <pc:sldChg chg="addSp modSp mod">
        <pc:chgData name="Roberto Gallardo" userId="49a044883f185952" providerId="LiveId" clId="{B2B1A677-1667-40B1-820C-6ECC42254150}" dt="2023-03-03T23:32:53.771" v="22" actId="1076"/>
        <pc:sldMkLst>
          <pc:docMk/>
          <pc:sldMk cId="1532666867" sldId="298"/>
        </pc:sldMkLst>
        <pc:picChg chg="add mod">
          <ac:chgData name="Roberto Gallardo" userId="49a044883f185952" providerId="LiveId" clId="{B2B1A677-1667-40B1-820C-6ECC42254150}" dt="2023-03-03T23:32:53.771" v="22" actId="1076"/>
          <ac:picMkLst>
            <pc:docMk/>
            <pc:sldMk cId="1532666867" sldId="298"/>
            <ac:picMk id="6" creationId="{7DDD20BA-AD93-6AF9-B47A-B6EBF272C28C}"/>
          </ac:picMkLst>
        </pc:picChg>
      </pc:sldChg>
      <pc:sldChg chg="addSp modSp mod">
        <pc:chgData name="Roberto Gallardo" userId="49a044883f185952" providerId="LiveId" clId="{B2B1A677-1667-40B1-820C-6ECC42254150}" dt="2023-03-03T23:37:06.440" v="211" actId="1035"/>
        <pc:sldMkLst>
          <pc:docMk/>
          <pc:sldMk cId="1951376777" sldId="299"/>
        </pc:sldMkLst>
        <pc:picChg chg="add mod">
          <ac:chgData name="Roberto Gallardo" userId="49a044883f185952" providerId="LiveId" clId="{B2B1A677-1667-40B1-820C-6ECC42254150}" dt="2023-03-03T23:37:06.440" v="211" actId="1035"/>
          <ac:picMkLst>
            <pc:docMk/>
            <pc:sldMk cId="1951376777" sldId="299"/>
            <ac:picMk id="7" creationId="{0AB3ABF6-6F16-DE40-0E0E-9702F64C4055}"/>
          </ac:picMkLst>
        </pc:picChg>
      </pc:sldChg>
      <pc:sldChg chg="modSp mod">
        <pc:chgData name="Roberto Gallardo" userId="49a044883f185952" providerId="LiveId" clId="{B2B1A677-1667-40B1-820C-6ECC42254150}" dt="2023-02-25T13:20:27.214" v="2" actId="20577"/>
        <pc:sldMkLst>
          <pc:docMk/>
          <pc:sldMk cId="1515423683" sldId="302"/>
        </pc:sldMkLst>
        <pc:spChg chg="mod">
          <ac:chgData name="Roberto Gallardo" userId="49a044883f185952" providerId="LiveId" clId="{B2B1A677-1667-40B1-820C-6ECC42254150}" dt="2023-02-25T13:20:27.214" v="2" actId="20577"/>
          <ac:spMkLst>
            <pc:docMk/>
            <pc:sldMk cId="1515423683" sldId="302"/>
            <ac:spMk id="5" creationId="{6AE302AC-8931-4144-BE52-DD1A8BA82462}"/>
          </ac:spMkLst>
        </pc:spChg>
        <pc:spChg chg="mod">
          <ac:chgData name="Roberto Gallardo" userId="49a044883f185952" providerId="LiveId" clId="{B2B1A677-1667-40B1-820C-6ECC42254150}" dt="2023-02-25T13:20:24.293" v="1" actId="20577"/>
          <ac:spMkLst>
            <pc:docMk/>
            <pc:sldMk cId="1515423683" sldId="302"/>
            <ac:spMk id="9" creationId="{E362A98F-7DCD-C67C-23CE-1BE182A133B4}"/>
          </ac:spMkLst>
        </pc:spChg>
      </pc:sldChg>
      <pc:sldChg chg="del">
        <pc:chgData name="Roberto Gallardo" userId="49a044883f185952" providerId="LiveId" clId="{B2B1A677-1667-40B1-820C-6ECC42254150}" dt="2023-02-25T14:44:43.067" v="4" actId="47"/>
        <pc:sldMkLst>
          <pc:docMk/>
          <pc:sldMk cId="2841628872" sldId="303"/>
        </pc:sldMkLst>
      </pc:sldChg>
      <pc:sldChg chg="del">
        <pc:chgData name="Roberto Gallardo" userId="49a044883f185952" providerId="LiveId" clId="{B2B1A677-1667-40B1-820C-6ECC42254150}" dt="2023-02-25T14:44:43.067" v="4" actId="47"/>
        <pc:sldMkLst>
          <pc:docMk/>
          <pc:sldMk cId="3084076302" sldId="304"/>
        </pc:sldMkLst>
      </pc:sldChg>
      <pc:sldChg chg="del">
        <pc:chgData name="Roberto Gallardo" userId="49a044883f185952" providerId="LiveId" clId="{B2B1A677-1667-40B1-820C-6ECC42254150}" dt="2023-02-25T14:44:43.067" v="4" actId="47"/>
        <pc:sldMkLst>
          <pc:docMk/>
          <pc:sldMk cId="473712435" sldId="305"/>
        </pc:sldMkLst>
      </pc:sldChg>
      <pc:sldChg chg="add">
        <pc:chgData name="Roberto Gallardo" userId="49a044883f185952" providerId="LiveId" clId="{B2B1A677-1667-40B1-820C-6ECC42254150}" dt="2023-02-25T14:44:40.144" v="3"/>
        <pc:sldMkLst>
          <pc:docMk/>
          <pc:sldMk cId="1038420999" sldId="307"/>
        </pc:sldMkLst>
      </pc:sldChg>
      <pc:sldChg chg="add">
        <pc:chgData name="Roberto Gallardo" userId="49a044883f185952" providerId="LiveId" clId="{B2B1A677-1667-40B1-820C-6ECC42254150}" dt="2023-02-25T14:44:40.144" v="3"/>
        <pc:sldMkLst>
          <pc:docMk/>
          <pc:sldMk cId="2925797210" sldId="308"/>
        </pc:sldMkLst>
      </pc:sldChg>
      <pc:sldChg chg="add">
        <pc:chgData name="Roberto Gallardo" userId="49a044883f185952" providerId="LiveId" clId="{B2B1A677-1667-40B1-820C-6ECC42254150}" dt="2023-02-25T14:44:40.144" v="3"/>
        <pc:sldMkLst>
          <pc:docMk/>
          <pc:sldMk cId="3427357156" sldId="309"/>
        </pc:sldMkLst>
      </pc:sldChg>
      <pc:sldChg chg="add">
        <pc:chgData name="Roberto Gallardo" userId="49a044883f185952" providerId="LiveId" clId="{B2B1A677-1667-40B1-820C-6ECC42254150}" dt="2023-02-25T14:44:40.144" v="3"/>
        <pc:sldMkLst>
          <pc:docMk/>
          <pc:sldMk cId="601293743"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Brunswick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3908A9A-2A49-B09E-815D-738757F10B39}"/>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4273571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7825FE7F-5B21-A92C-C005-C507003B3191}"/>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6012937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6C561D75-EC97-768F-56D4-FD7D37AFA7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7DDD20BA-AD93-6AF9-B47A-B6EBF272C2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3" y="1028700"/>
            <a:ext cx="7596754"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6607EA8B-F174-BAF9-18D8-79DEBFE7E8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8255" y="1026907"/>
            <a:ext cx="7599290" cy="5373893"/>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37C539A-74AC-2FD1-B7FD-0082FF5728B1}"/>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9D8622ED-DD82-60F2-C063-8A678F515B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4815" y="1323393"/>
            <a:ext cx="6367960" cy="4503148"/>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9A87514-E15F-4572-2B3E-80B1205F296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10;&#10;Description automatically generated">
            <a:extLst>
              <a:ext uri="{FF2B5EF4-FFF2-40B4-BE49-F238E27FC236}">
                <a16:creationId xmlns:a16="http://schemas.microsoft.com/office/drawing/2014/main" id="{B2D162A0-4A93-E669-414E-525C70C43D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3341" y="1332724"/>
            <a:ext cx="6348773" cy="448958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109E34A-752A-ECD3-EDE2-B08B9155C756}"/>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59126923-7713-4528-4D0E-299A0926D5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4"/>
            <a:ext cx="6362700" cy="4499429"/>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16964B5-B131-58E8-E45C-96E1713FF2A5}"/>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Chart&#10;&#10;Description automatically generated with medium confidence">
            <a:extLst>
              <a:ext uri="{FF2B5EF4-FFF2-40B4-BE49-F238E27FC236}">
                <a16:creationId xmlns:a16="http://schemas.microsoft.com/office/drawing/2014/main" id="{0AD153EB-480B-EAD8-0DBE-A0C4608FC3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332725"/>
            <a:ext cx="6362700" cy="4499428"/>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5B8EB617-3C48-80DB-30AE-CC5256A12B7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86E3AE12-01F6-BC28-AB43-6DDC2413A1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23393"/>
            <a:ext cx="6367462" cy="4502796"/>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1497CEB5-EE93-4DB5-A39F-BBC0FE53FE3A}"/>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8DAEF975-045A-CE4B-8AB7-5A08D46A07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4"/>
            <a:ext cx="6362700" cy="449942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3626A987-96D4-ADB8-00AE-CAFEBB8BF57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AFACCCD0-4FC0-FDB2-C0FE-EE35907944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3"/>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76BCA317-E3DF-ECD7-31AA-4958774147A7}"/>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F7E50A27-0E84-B582-9CCF-A381F94C7C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4"/>
            <a:ext cx="6362700" cy="449942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C624271-9E87-9BD9-6BC9-EEDCC9216248}"/>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23484514-4F42-9DCC-ADF1-209D7509FE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336609"/>
            <a:ext cx="6372225" cy="4506165"/>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33B7CB20-E36C-7D9B-52F7-84A150BA252E}"/>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D8636534-7E96-E01A-A0EF-3883767D90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4"/>
            <a:ext cx="6362700" cy="449942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B9441B68-570D-6D5E-E99C-57C2E0242E1B}"/>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47175CCA-0DE7-4CBB-3802-1212540476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4"/>
            <a:ext cx="6361381" cy="449849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2CAE0D4B-3B75-78AC-C7F2-8FE9B6F4F23E}"/>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F300DAA3-0326-3D1A-1988-47BA1E15AD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332725"/>
            <a:ext cx="6362701" cy="449943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8E809740-BBAF-B951-7393-4BF24AB86ECE}"/>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45F1324F-D1B5-B62D-56C7-E568EBE519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4"/>
            <a:ext cx="6348773" cy="448958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2A83DF67-A9C8-2BD6-FA10-11A2B78D7F5E}"/>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0AB3ABF6-6F16-DE40-0E0E-9702F64C40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3203"/>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406137BA-1824-457A-1109-E38D3DAE3CCD}"/>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10;&#10;Description automatically generated">
            <a:extLst>
              <a:ext uri="{FF2B5EF4-FFF2-40B4-BE49-F238E27FC236}">
                <a16:creationId xmlns:a16="http://schemas.microsoft.com/office/drawing/2014/main" id="{258D7C57-2185-15A2-E8DF-D06760EE73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4"/>
            <a:ext cx="6362700"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AB6745C9-21E6-CD41-103E-07FCF467ACD6}"/>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E5C7447A-F113-C703-25CD-8FE4D006B7CC}"/>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Chart&#10;&#10;Description automatically generated with medium confidence">
            <a:extLst>
              <a:ext uri="{FF2B5EF4-FFF2-40B4-BE49-F238E27FC236}">
                <a16:creationId xmlns:a16="http://schemas.microsoft.com/office/drawing/2014/main" id="{4ABE03B2-9212-D594-F6B2-4A65948038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32723"/>
            <a:ext cx="6362700"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76F735C-4D43-1DE0-E91C-CA5498792388}"/>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32B0924-1D42-5413-C593-8C64581180D4}"/>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E19C60-7628-7AEA-F853-70E8032C0AD9}"/>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47844" y="2199582"/>
            <a:ext cx="1198148" cy="1996363"/>
            <a:chOff x="8052264" y="2649225"/>
            <a:chExt cx="1198148" cy="1996363"/>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8</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6492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649225"/>
              <a:ext cx="0" cy="4769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54225" y="2544251"/>
            <a:ext cx="1198148" cy="1757313"/>
            <a:chOff x="10495270" y="3724362"/>
            <a:chExt cx="1198148" cy="1757313"/>
          </a:xfrm>
        </p:grpSpPr>
        <p:sp>
          <p:nvSpPr>
            <p:cNvPr id="11" name="TextBox 10">
              <a:extLst>
                <a:ext uri="{FF2B5EF4-FFF2-40B4-BE49-F238E27FC236}">
                  <a16:creationId xmlns:a16="http://schemas.microsoft.com/office/drawing/2014/main" id="{09F5AE19-B4E3-7788-F25F-CDA80D596DAF}"/>
                </a:ext>
              </a:extLst>
            </p:cNvPr>
            <p:cNvSpPr txBox="1"/>
            <p:nvPr/>
          </p:nvSpPr>
          <p:spPr>
            <a:xfrm>
              <a:off x="10495270" y="41985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7.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0612" y="548167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7243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p:cNvCxnSpPr>
            <p:nvPr/>
          </p:nvCxnSpPr>
          <p:spPr>
            <a:xfrm>
              <a:off x="11084819" y="3724362"/>
              <a:ext cx="0" cy="4656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73275" y="5072036"/>
              <a:ext cx="0" cy="4001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6D8C910-6822-A346-2505-8C840E8864C6}"/>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CDBB7456-BF32-0051-0860-F75F0F461414}"/>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B97929B-09BB-50FE-A863-F9BB5C8CA445}"/>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169B1929-1E00-1F80-1E1B-68122857592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572A70C-124C-A686-A6D7-09CDA1310CBF}"/>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313368F6-A37F-6698-C72C-1310B8108CBF}"/>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CD467BD4-59C1-9A46-125F-0EEDB3A32A00}"/>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0384209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F2C44B83-AA9B-0A32-3735-9F18B8BAC1EF}"/>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2925797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40</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7</cp:revision>
  <dcterms:created xsi:type="dcterms:W3CDTF">2022-07-04T13:32:28Z</dcterms:created>
  <dcterms:modified xsi:type="dcterms:W3CDTF">2023-03-03T23:37:46Z</dcterms:modified>
</cp:coreProperties>
</file>